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tiff" ContentType="image/tiff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6" r:id="rId2"/>
  </p:sldMasterIdLst>
  <p:notesMasterIdLst>
    <p:notesMasterId r:id="rId9"/>
  </p:notesMasterIdLst>
  <p:handoutMasterIdLst>
    <p:handoutMasterId r:id="rId10"/>
  </p:handoutMasterIdLst>
  <p:sldIdLst>
    <p:sldId id="303" r:id="rId3"/>
    <p:sldId id="304" r:id="rId4"/>
    <p:sldId id="341" r:id="rId5"/>
    <p:sldId id="333" r:id="rId6"/>
    <p:sldId id="344" r:id="rId7"/>
    <p:sldId id="345" r:id="rId8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18A18"/>
    <a:srgbClr val="50AA1E"/>
    <a:srgbClr val="8CD153"/>
    <a:srgbClr val="A1C064"/>
    <a:srgbClr val="61CE24"/>
    <a:srgbClr val="7CDF45"/>
    <a:srgbClr val="3333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18" autoAdjust="0"/>
    <p:restoredTop sz="94637" autoAdjust="0"/>
  </p:normalViewPr>
  <p:slideViewPr>
    <p:cSldViewPr>
      <p:cViewPr varScale="1">
        <p:scale>
          <a:sx n="70" d="100"/>
          <a:sy n="70" d="100"/>
        </p:scale>
        <p:origin x="-1404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A6ED2-8BCD-4980-8751-0CDD1B2F288A}" type="datetimeFigureOut">
              <a:rPr lang="ru-RU" smtClean="0"/>
              <a:pPr/>
              <a:t>25.03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42DA2-5B93-4745-BA36-2F87B36844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8478457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064CD-A8CF-46D5-8E51-5B10A96711F1}" type="datetimeFigureOut">
              <a:rPr lang="ru-RU" smtClean="0"/>
              <a:pPr/>
              <a:t>25.03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3A6A9B-23DC-4A30-A255-E55EAC5234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8743314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390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8010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8667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9353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1075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006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65763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2266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916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00980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314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4179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22033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8958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5587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081728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6037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87020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1711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ZAR_STYLE_2013_Bas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1640" y="104780"/>
            <a:ext cx="76024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400" b="1">
                <a:solidFill>
                  <a:srgbClr val="2E8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7668348" y="44624"/>
            <a:ext cx="1046462" cy="81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 bwMode="auto">
          <a:xfrm>
            <a:off x="179519" y="634024"/>
            <a:ext cx="76928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688782" y="89281"/>
            <a:ext cx="290477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462965" y="607827"/>
            <a:ext cx="5000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7702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84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1043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4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01511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3300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8894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26425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26896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196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7505" y="260648"/>
            <a:ext cx="7992888" cy="1440160"/>
          </a:xfrm>
        </p:spPr>
        <p:txBody>
          <a:bodyPr>
            <a:noAutofit/>
          </a:bodyPr>
          <a:lstStyle/>
          <a:p>
            <a:pPr algn="ctr"/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Инструменты реализации долгосрочных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инвестиционных проектов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«Инвестиционные проекты с гос. поддержкой и гос. участием»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на основе проектного финансирования в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Республике Татарстан</a:t>
            </a:r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endParaRPr lang="ru-RU" sz="2000" b="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1916832"/>
            <a:ext cx="273630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Схема реализации инвестиционных проектов с гос. поддержкой / гос.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участием»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 рамках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Ежегодной общественной премии «Регионы – устойчивое развитие»</a:t>
            </a:r>
            <a:endParaRPr lang="ru-RU" sz="1600" b="1" u="sng" dirty="0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02977" y="4005064"/>
            <a:ext cx="2592288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правление </a:t>
            </a:r>
            <a:r>
              <a:rPr lang="en-US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 работе </a:t>
            </a: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 субъектами РФ </a:t>
            </a: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шетник Мария  </a:t>
            </a: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нкурса </a:t>
            </a:r>
          </a:p>
          <a:p>
            <a:pPr algn="r"/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Ежегодная общественная премия </a:t>
            </a:r>
          </a:p>
          <a:p>
            <a:pPr algn="r"/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r"/>
            <a:endParaRPr lang="en-US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3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апреля 2015 </a:t>
            </a: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г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г.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Казань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291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2857" y="104780"/>
            <a:ext cx="7581191" cy="529249"/>
          </a:xfrm>
        </p:spPr>
        <p:txBody>
          <a:bodyPr/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        Содержание</a:t>
            </a:r>
            <a:endParaRPr lang="ru-RU" sz="29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5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801731270"/>
              </p:ext>
            </p:extLst>
          </p:nvPr>
        </p:nvGraphicFramePr>
        <p:xfrm>
          <a:off x="323528" y="1395258"/>
          <a:ext cx="8352928" cy="771144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8352928"/>
              </a:tblGrid>
              <a:tr h="935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32496" marR="32496" marT="0" marB="0" anchor="ctr"/>
                </a:tc>
              </a:tr>
              <a:tr h="32859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r>
                        <a:rPr lang="ru-RU" sz="1400" b="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Факторы, вызывающие необходимость координации работы заинтересованных в привлечении инвестиций сторон.</a:t>
                      </a:r>
                      <a:endParaRPr lang="ru-RU" sz="1400" b="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32496" marR="32496" marT="0" marB="0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I</a:t>
            </a:r>
            <a:endParaRPr lang="ru-RU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4867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04781"/>
            <a:ext cx="7008472" cy="515907"/>
          </a:xfrm>
        </p:spPr>
        <p:txBody>
          <a:bodyPr>
            <a:norm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Факторы,  вызывающие необходимость координации работы заинтересованных в привлечении инвестиций сторон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9156" y="821350"/>
            <a:ext cx="8496944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Инициаторам проектов</a:t>
            </a: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онятность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– в виде получения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на ранней стадии работы над проектом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необходимой информации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 возможных формах и условиях финансирования и поддержки,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для возможности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ассчитать финансовые ресурсы и разработать порядок действий. </a:t>
            </a:r>
            <a:endParaRPr lang="ru-RU" sz="14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Гарантии защиты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т потери Бизнеса и излишней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бюрократии.</a:t>
            </a:r>
          </a:p>
          <a:p>
            <a:pPr algn="just"/>
            <a:r>
              <a:rPr lang="ru-RU" sz="1400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рганам государственной власти Субъектов федерации</a:t>
            </a:r>
          </a:p>
          <a:p>
            <a:pPr indent="3603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ост предпринимательской активности в области малого и среднего бизнеса, направленной на создание новых субъектов хозяйственной деятельности, в том числе сосредоточенных на специально выделяемых инвестиционных площадках, включая индустриальные парки. </a:t>
            </a:r>
          </a:p>
          <a:p>
            <a:pPr indent="3603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Активное подключение кредитно-финансовых учреждений к работе с предпринимателями и инициативными гражданами па этапе формирования бизнес-идей. </a:t>
            </a:r>
          </a:p>
          <a:p>
            <a:pPr indent="3603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Наличие понятного федерального законодательства, регулирующего государственную поддержку инвестиционной деятельности, базирующегося на реальных предложениях предпринимателей. </a:t>
            </a:r>
          </a:p>
          <a:p>
            <a:pPr algn="just"/>
            <a:r>
              <a:rPr lang="ru-RU" sz="1400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Федеральные органам государственной власти</a:t>
            </a:r>
          </a:p>
          <a:p>
            <a:pPr indent="360363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частие в анализе всего потока поступающих инвестиционных проектов и бизнес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идей, с целью выработки универсальных механизмов государственной поддержки инвестиционной деятельности.</a:t>
            </a:r>
          </a:p>
          <a:p>
            <a:pPr indent="3603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онтроль 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аботы региональных органов исполнительной власти по фактическим показателям (реализация инвестиционных соглашений). </a:t>
            </a:r>
            <a:endParaRPr lang="ru-RU" sz="14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Возможность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омплектовать из представленных к рассмотрению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ектов производственные кластеры,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беспечивающие производственную кооперацию с якорным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зидентом,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пециально выделенных инвестиционных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лощадок,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включая площадки монопрофильных муниципальных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бразований.</a:t>
            </a:r>
          </a:p>
          <a:p>
            <a:pPr algn="just"/>
            <a:endParaRPr lang="ru-RU" sz="1400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1520" y="5736158"/>
            <a:ext cx="87129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ргкомитет Конкурса «Регионы – устойчивое развитие»  - </a:t>
            </a:r>
            <a:r>
              <a:rPr lang="en-US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оздан </a:t>
            </a:r>
            <a:r>
              <a:rPr lang="en-US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в 2011 году</a:t>
            </a:r>
          </a:p>
          <a:p>
            <a:pPr lvl="1" indent="257175" algn="just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авительство РФ  - Поручение 10 августа 2011 года № ДК-П9-5670</a:t>
            </a:r>
          </a:p>
          <a:p>
            <a:pPr lvl="1" indent="257175" algn="just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 </a:t>
            </a:r>
          </a:p>
          <a:p>
            <a:pPr lvl="1" algn="just"/>
            <a:r>
              <a:rPr lang="ru-RU" sz="1600" i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ЗАО «ВТБ – Банк» (</a:t>
            </a:r>
            <a:r>
              <a:rPr lang="ru-RU" sz="1600" i="1" dirty="0" err="1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о-организатор</a:t>
            </a:r>
            <a:r>
              <a:rPr lang="ru-RU" sz="1600" i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с  мая 2014 года)</a:t>
            </a:r>
          </a:p>
        </p:txBody>
      </p:sp>
      <p:sp>
        <p:nvSpPr>
          <p:cNvPr id="5" name="Стрелка вниз 4"/>
          <p:cNvSpPr/>
          <p:nvPr/>
        </p:nvSpPr>
        <p:spPr>
          <a:xfrm>
            <a:off x="3995936" y="5373216"/>
            <a:ext cx="648072" cy="360040"/>
          </a:xfrm>
          <a:prstGeom prst="downArrow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18A18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   Продукт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7504" y="620688"/>
            <a:ext cx="885698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buAutoNum type="arabicPeriod"/>
            </a:pPr>
            <a:r>
              <a:rPr lang="ru-RU" sz="12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 и Оргкомитет Конкурса создали:</a:t>
            </a:r>
          </a:p>
          <a:p>
            <a:pPr marL="800100" lvl="1" indent="-3429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200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Единая Программа (алгоритм) по сбору заявок инвестиционных проектов</a:t>
            </a:r>
            <a:r>
              <a:rPr lang="ru-RU" sz="12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для получения Инициаторами проектов (одновременно): 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Долгового финансирования  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Инвестиционного финансирования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Государственной поддержки (региональная / федеральная)</a:t>
            </a:r>
          </a:p>
          <a:p>
            <a:pPr marL="800100" lvl="1" indent="-342900" algn="just">
              <a:lnSpc>
                <a:spcPct val="150000"/>
              </a:lnSpc>
              <a:buFont typeface="Wingdings" pitchFamily="2" charset="2"/>
              <a:buChar char="v"/>
            </a:pPr>
            <a:endParaRPr lang="ru-RU" sz="1200" b="1" u="sng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marL="800100" lvl="1" indent="-3429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200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ниверсальная (единая) Программа (алгоритм)</a:t>
            </a: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отбора, рассмотрения, структурирования и реализации инвестиционных проектов, который стандартизирован под требования: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ребования финансово- кредитных организаций 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ребования Инвестиционных фондов с государственным участием в уставном капитале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ребования страховых компаний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ребования субъектов РФ и требованиям региональных программ </a:t>
            </a:r>
          </a:p>
          <a:p>
            <a:pPr marL="1257300" lvl="2" indent="-3429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ребования федеральных целевых программ и государственных программ (действующих и создаваемых)</a:t>
            </a:r>
            <a:endParaRPr lang="ru-RU" sz="1200" b="1" u="sng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marL="1257300" lvl="2" indent="-342900" algn="just">
              <a:lnSpc>
                <a:spcPct val="150000"/>
              </a:lnSpc>
            </a:pPr>
            <a:endParaRPr lang="ru-RU" sz="12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marL="800100" lvl="1" indent="-3429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200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гламент (финансовый продукт)</a:t>
            </a: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для финансирования реализации инвестиционных проектов на базе механизма Проектное финансирование («Особые условия финансирования реализации инвестиционных проектов с государственной поддержкой / государственным участием») </a:t>
            </a:r>
          </a:p>
        </p:txBody>
      </p:sp>
      <p:sp>
        <p:nvSpPr>
          <p:cNvPr id="4" name="Стрелка вниз 3"/>
          <p:cNvSpPr/>
          <p:nvPr/>
        </p:nvSpPr>
        <p:spPr>
          <a:xfrm>
            <a:off x="4572000" y="5589240"/>
            <a:ext cx="576064" cy="504056"/>
          </a:xfrm>
          <a:prstGeom prst="down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07504" y="5962054"/>
            <a:ext cx="88569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ctr">
              <a:lnSpc>
                <a:spcPct val="150000"/>
              </a:lnSpc>
            </a:pPr>
            <a:r>
              <a:rPr lang="ru-RU" sz="1200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ниверсальная (единая) Система (алгоритм</a:t>
            </a: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800100" lvl="1" indent="-342900" algn="ctr">
              <a:lnSpc>
                <a:spcPct val="150000"/>
              </a:lnSpc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аботы по реализации инвестиционных проектов</a:t>
            </a:r>
          </a:p>
          <a:p>
            <a:pPr marL="800100" lvl="1" indent="-342900" algn="ctr">
              <a:lnSpc>
                <a:spcPct val="150000"/>
              </a:lnSpc>
            </a:pP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и взаимодействии со всеми участниками инвестиционной деятельности на базе проектного финансирования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475656" y="2708920"/>
            <a:ext cx="468052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1" indent="-342900" algn="ctr">
              <a:lnSpc>
                <a:spcPct val="150000"/>
              </a:lnSpc>
            </a:pPr>
            <a:r>
              <a:rPr lang="ru-RU" sz="14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ниверсальная (единая) Программа (алгоритм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342900" lvl="1" indent="-342900" algn="ctr">
              <a:lnSpc>
                <a:spcPct val="150000"/>
              </a:lnSpc>
            </a:pPr>
            <a:r>
              <a:rPr lang="ru-RU" sz="1400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«Схема взаимодействия при реализации инвестиционных проектов с гос. поддержкой / гос. участием» *</a:t>
            </a:r>
            <a:endParaRPr lang="ru-RU" sz="1400" u="sng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953469" y="764704"/>
            <a:ext cx="1901290" cy="1077218"/>
          </a:xfrm>
          <a:prstGeom prst="rect">
            <a:avLst/>
          </a:prstGeom>
          <a:solidFill>
            <a:srgbClr val="50AA1E"/>
          </a:solidFill>
          <a:ln w="15875"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ru-RU" sz="16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АО 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Сбербанк России»</a:t>
            </a:r>
          </a:p>
          <a:p>
            <a:pPr algn="ctr"/>
            <a:endParaRPr lang="ru-RU" sz="16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781978" y="1628800"/>
            <a:ext cx="1269964" cy="58477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нкурса</a:t>
            </a:r>
            <a:endParaRPr lang="ru-RU" sz="16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трелка вправо 6"/>
          <p:cNvSpPr/>
          <p:nvPr/>
        </p:nvSpPr>
        <p:spPr>
          <a:xfrm rot="5400000">
            <a:off x="3645657" y="2240868"/>
            <a:ext cx="504056" cy="576064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35496" y="4293096"/>
            <a:ext cx="910850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363" lvl="1" indent="-360363" algn="just">
              <a:buFont typeface="Wingdings" pitchFamily="2" charset="2"/>
              <a:buChar char="v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Алгоритм позволяет начать реализацию инвестиционного проекта только при наличии решения о финансировании проекта инвестиционным фондом (</a:t>
            </a:r>
            <a:r>
              <a:rPr lang="ru-RU" sz="1400" dirty="0" err="1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ами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) и финансово – кредитной организацией</a:t>
            </a:r>
          </a:p>
          <a:p>
            <a:pPr marL="360363" lvl="1" indent="-360363" algn="just">
              <a:buFont typeface="Wingdings" pitchFamily="2" charset="2"/>
              <a:buChar char="v"/>
            </a:pPr>
            <a:endParaRPr lang="ru-RU" sz="14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marL="360363" lvl="1" indent="-360363" algn="just">
              <a:buFont typeface="Wingdings" pitchFamily="2" charset="2"/>
              <a:buChar char="v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Алгоритм исключает необоснованные затраты предприятия при подготовке документов по проекту для рассмотрения финансово – кредитной организацией (Банком)  </a:t>
            </a:r>
          </a:p>
        </p:txBody>
      </p:sp>
      <p:sp>
        <p:nvSpPr>
          <p:cNvPr id="9" name="Стрелка вправо 8"/>
          <p:cNvSpPr/>
          <p:nvPr/>
        </p:nvSpPr>
        <p:spPr>
          <a:xfrm rot="5400000">
            <a:off x="3599892" y="3753036"/>
            <a:ext cx="648072" cy="576064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5496" y="5733256"/>
            <a:ext cx="90010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етодическая и техническая работа по организации работы Конкурса возложена на Оргкомитет Конкурса</a:t>
            </a:r>
          </a:p>
          <a:p>
            <a:pPr algn="just"/>
            <a:endParaRPr lang="ru-RU" sz="14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i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* На текущий момент рассматриваются проекты, реализация которых возможна при использовании средств государственных форм поддержки как финансового – кредитных организаций так и Инициаторов проектов (Распоряжение № 98-р от 27.01.2015), включая Постановление Правительства № 1044 от 11.10.2014 года)</a:t>
            </a:r>
            <a:endParaRPr lang="ru-RU" sz="1400" i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908720"/>
            <a:ext cx="6288392" cy="529249"/>
          </a:xfrm>
        </p:spPr>
        <p:txBody>
          <a:bodyPr/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пасибо за внимание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1266" y="2222441"/>
            <a:ext cx="79928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шетник Мария</a:t>
            </a:r>
            <a:r>
              <a:rPr lang="en-US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ергеевна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уководитель направления 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правление по работе с субъектами РФ ОАО «Сбербанк России» </a:t>
            </a:r>
            <a:b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: (495) 957-55-08;  </a:t>
            </a:r>
            <a:r>
              <a:rPr lang="ru-RU" dirty="0" err="1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об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.: (985) 992-68-38</a:t>
            </a:r>
          </a:p>
          <a:p>
            <a:r>
              <a:rPr lang="en-US" u="sng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MSKirpicheva@sberbank.ru</a:t>
            </a:r>
            <a:endParaRPr lang="ru-RU" u="sng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89076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20</TotalTime>
  <Words>602</Words>
  <Application>Microsoft Office PowerPoint</Application>
  <PresentationFormat>Экран (4:3)</PresentationFormat>
  <Paragraphs>75</Paragraphs>
  <Slides>6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6</vt:i4>
      </vt:variant>
    </vt:vector>
  </HeadingPairs>
  <TitlesOfParts>
    <vt:vector size="8" baseType="lpstr">
      <vt:lpstr>1_Тема Office</vt:lpstr>
      <vt:lpstr>2_Тема Office</vt:lpstr>
      <vt:lpstr> Инструменты реализации долгосрочных  инвестиционных проектов «Инвестиционные проекты с гос. поддержкой и гос. участием»  на основе проектного финансирования в Республике Татарстан </vt:lpstr>
      <vt:lpstr>          Содержание</vt:lpstr>
      <vt:lpstr>Факторы,  вызывающие необходимость координации работы заинтересованных в привлечении инвестиций сторон.</vt:lpstr>
      <vt:lpstr>              Продукт </vt:lpstr>
      <vt:lpstr> </vt:lpstr>
      <vt:lpstr>Спасибо за внимание</vt:lpstr>
    </vt:vector>
  </TitlesOfParts>
  <Company>Grizli777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реализации инвестиционных проектов с господержкой / госучастием в рамках исполнения</dc:title>
  <dc:creator>belichenko</dc:creator>
  <cp:lastModifiedBy>sokolovskaya</cp:lastModifiedBy>
  <cp:revision>281</cp:revision>
  <cp:lastPrinted>2015-03-03T10:46:27Z</cp:lastPrinted>
  <dcterms:created xsi:type="dcterms:W3CDTF">2014-11-17T08:55:10Z</dcterms:created>
  <dcterms:modified xsi:type="dcterms:W3CDTF">2015-03-25T12:00:12Z</dcterms:modified>
</cp:coreProperties>
</file>